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0"/>
  </p:notesMasterIdLst>
  <p:sldIdLst>
    <p:sldId id="366" r:id="rId2"/>
    <p:sldId id="367" r:id="rId3"/>
    <p:sldId id="370" r:id="rId4"/>
    <p:sldId id="371" r:id="rId5"/>
    <p:sldId id="369" r:id="rId6"/>
    <p:sldId id="372" r:id="rId7"/>
    <p:sldId id="373" r:id="rId8"/>
    <p:sldId id="368" r:id="rId9"/>
  </p:sldIdLst>
  <p:sldSz cx="12192000" cy="6858000"/>
  <p:notesSz cx="6858000" cy="9144000"/>
  <p:embeddedFontLst>
    <p:embeddedFont>
      <p:font typeface="Rubik" panose="00000500000000000000" pitchFamily="50" charset="-79"/>
      <p:regular r:id="rId11"/>
      <p:bold r:id="rId12"/>
      <p:italic r:id="rId13"/>
    </p:embeddedFont>
    <p:embeddedFont>
      <p:font typeface="Trebuchet MS" panose="020B0603020202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77" d="100"/>
          <a:sy n="77" d="100"/>
        </p:scale>
        <p:origin x="91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eha, Neha" userId="b9e4bbd6-fdeb-44af-ab97-a2c53721413c" providerId="ADAL" clId="{3E15ADCE-8E0B-48A0-98D4-A9E5D236B79A}"/>
    <pc:docChg chg="undo redo custSel addSld modSld">
      <pc:chgData name="Neha, Neha" userId="b9e4bbd6-fdeb-44af-ab97-a2c53721413c" providerId="ADAL" clId="{3E15ADCE-8E0B-48A0-98D4-A9E5D236B79A}" dt="2022-01-30T07:03:18.829" v="1161" actId="20577"/>
      <pc:docMkLst>
        <pc:docMk/>
      </pc:docMkLst>
      <pc:sldChg chg="delSp modSp mod">
        <pc:chgData name="Neha, Neha" userId="b9e4bbd6-fdeb-44af-ab97-a2c53721413c" providerId="ADAL" clId="{3E15ADCE-8E0B-48A0-98D4-A9E5D236B79A}" dt="2022-01-27T08:13:07.088" v="112" actId="113"/>
        <pc:sldMkLst>
          <pc:docMk/>
          <pc:sldMk cId="684571084" sldId="366"/>
        </pc:sldMkLst>
        <pc:spChg chg="mod">
          <ac:chgData name="Neha, Neha" userId="b9e4bbd6-fdeb-44af-ab97-a2c53721413c" providerId="ADAL" clId="{3E15ADCE-8E0B-48A0-98D4-A9E5D236B79A}" dt="2022-01-27T08:10:08.534" v="11" actId="20577"/>
          <ac:spMkLst>
            <pc:docMk/>
            <pc:sldMk cId="684571084" sldId="366"/>
            <ac:spMk id="16" creationId="{6D6DA9F7-DB64-4567-BE8E-E069C1B10127}"/>
          </ac:spMkLst>
        </pc:spChg>
        <pc:spChg chg="del mod">
          <ac:chgData name="Neha, Neha" userId="b9e4bbd6-fdeb-44af-ab97-a2c53721413c" providerId="ADAL" clId="{3E15ADCE-8E0B-48A0-98D4-A9E5D236B79A}" dt="2022-01-27T08:12:38.189" v="86" actId="478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Neha, Neha" userId="b9e4bbd6-fdeb-44af-ab97-a2c53721413c" providerId="ADAL" clId="{3E15ADCE-8E0B-48A0-98D4-A9E5D236B79A}" dt="2022-01-27T08:13:07.088" v="112" actId="113"/>
          <ac:spMkLst>
            <pc:docMk/>
            <pc:sldMk cId="684571084" sldId="366"/>
            <ac:spMk id="18" creationId="{1A8455E1-E124-45CE-B4DD-AE99CCF9A248}"/>
          </ac:spMkLst>
        </pc:spChg>
      </pc:sldChg>
      <pc:sldChg chg="modSp mod">
        <pc:chgData name="Neha, Neha" userId="b9e4bbd6-fdeb-44af-ab97-a2c53721413c" providerId="ADAL" clId="{3E15ADCE-8E0B-48A0-98D4-A9E5D236B79A}" dt="2022-01-27T09:51:32.548" v="727" actId="21"/>
        <pc:sldMkLst>
          <pc:docMk/>
          <pc:sldMk cId="1022597847" sldId="367"/>
        </pc:sldMkLst>
        <pc:spChg chg="mod">
          <ac:chgData name="Neha, Neha" userId="b9e4bbd6-fdeb-44af-ab97-a2c53721413c" providerId="ADAL" clId="{3E15ADCE-8E0B-48A0-98D4-A9E5D236B79A}" dt="2022-01-27T08:13:28.137" v="123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Neha, Neha" userId="b9e4bbd6-fdeb-44af-ab97-a2c53721413c" providerId="ADAL" clId="{3E15ADCE-8E0B-48A0-98D4-A9E5D236B79A}" dt="2022-01-27T09:51:32.548" v="727" actId="21"/>
          <ac:spMkLst>
            <pc:docMk/>
            <pc:sldMk cId="1022597847" sldId="367"/>
            <ac:spMk id="6" creationId="{525CBB0E-B869-4882-8948-65DD257EDC97}"/>
          </ac:spMkLst>
        </pc:spChg>
      </pc:sldChg>
      <pc:sldChg chg="addSp modSp mod">
        <pc:chgData name="Neha, Neha" userId="b9e4bbd6-fdeb-44af-ab97-a2c53721413c" providerId="ADAL" clId="{3E15ADCE-8E0B-48A0-98D4-A9E5D236B79A}" dt="2022-01-27T10:25:21.707" v="1031" actId="14100"/>
        <pc:sldMkLst>
          <pc:docMk/>
          <pc:sldMk cId="1336772705" sldId="369"/>
        </pc:sldMkLst>
        <pc:spChg chg="mod">
          <ac:chgData name="Neha, Neha" userId="b9e4bbd6-fdeb-44af-ab97-a2c53721413c" providerId="ADAL" clId="{3E15ADCE-8E0B-48A0-98D4-A9E5D236B79A}" dt="2022-01-27T10:22:27.283" v="1026" actId="5793"/>
          <ac:spMkLst>
            <pc:docMk/>
            <pc:sldMk cId="1336772705" sldId="369"/>
            <ac:spMk id="6" creationId="{8300A30E-56D3-4B3A-8CDB-4EC8BF085B07}"/>
          </ac:spMkLst>
        </pc:spChg>
        <pc:picChg chg="add mod">
          <ac:chgData name="Neha, Neha" userId="b9e4bbd6-fdeb-44af-ab97-a2c53721413c" providerId="ADAL" clId="{3E15ADCE-8E0B-48A0-98D4-A9E5D236B79A}" dt="2022-01-27T10:25:21.707" v="1031" actId="14100"/>
          <ac:picMkLst>
            <pc:docMk/>
            <pc:sldMk cId="1336772705" sldId="369"/>
            <ac:picMk id="8" creationId="{C504F5C6-9544-4103-BA0D-C58F9B336748}"/>
          </ac:picMkLst>
        </pc:picChg>
      </pc:sldChg>
      <pc:sldChg chg="modSp new mod">
        <pc:chgData name="Neha, Neha" userId="b9e4bbd6-fdeb-44af-ab97-a2c53721413c" providerId="ADAL" clId="{3E15ADCE-8E0B-48A0-98D4-A9E5D236B79A}" dt="2022-01-30T07:03:18.829" v="1161" actId="20577"/>
        <pc:sldMkLst>
          <pc:docMk/>
          <pc:sldMk cId="434917263" sldId="370"/>
        </pc:sldMkLst>
        <pc:spChg chg="mod">
          <ac:chgData name="Neha, Neha" userId="b9e4bbd6-fdeb-44af-ab97-a2c53721413c" providerId="ADAL" clId="{3E15ADCE-8E0B-48A0-98D4-A9E5D236B79A}" dt="2022-01-27T09:52:21.450" v="802" actId="6549"/>
          <ac:spMkLst>
            <pc:docMk/>
            <pc:sldMk cId="434917263" sldId="370"/>
            <ac:spMk id="2" creationId="{0182FEB1-EE72-47B7-AA25-E5AE4970B967}"/>
          </ac:spMkLst>
        </pc:spChg>
        <pc:spChg chg="mod">
          <ac:chgData name="Neha, Neha" userId="b9e4bbd6-fdeb-44af-ab97-a2c53721413c" providerId="ADAL" clId="{3E15ADCE-8E0B-48A0-98D4-A9E5D236B79A}" dt="2022-01-27T09:54:23.327" v="858" actId="1076"/>
          <ac:spMkLst>
            <pc:docMk/>
            <pc:sldMk cId="434917263" sldId="370"/>
            <ac:spMk id="5" creationId="{365CE6EB-0A29-4D18-B596-D4582C0FD22B}"/>
          </ac:spMkLst>
        </pc:spChg>
        <pc:spChg chg="mod">
          <ac:chgData name="Neha, Neha" userId="b9e4bbd6-fdeb-44af-ab97-a2c53721413c" providerId="ADAL" clId="{3E15ADCE-8E0B-48A0-98D4-A9E5D236B79A}" dt="2022-01-30T07:03:18.829" v="1161" actId="20577"/>
          <ac:spMkLst>
            <pc:docMk/>
            <pc:sldMk cId="434917263" sldId="370"/>
            <ac:spMk id="6" creationId="{41F289B5-D325-4C01-B093-D26564BA57DB}"/>
          </ac:spMkLst>
        </pc:spChg>
      </pc:sldChg>
      <pc:sldChg chg="modSp new mod">
        <pc:chgData name="Neha, Neha" userId="b9e4bbd6-fdeb-44af-ab97-a2c53721413c" providerId="ADAL" clId="{3E15ADCE-8E0B-48A0-98D4-A9E5D236B79A}" dt="2022-01-27T10:01:39.433" v="962" actId="113"/>
        <pc:sldMkLst>
          <pc:docMk/>
          <pc:sldMk cId="3724619332" sldId="371"/>
        </pc:sldMkLst>
        <pc:spChg chg="mod">
          <ac:chgData name="Neha, Neha" userId="b9e4bbd6-fdeb-44af-ab97-a2c53721413c" providerId="ADAL" clId="{3E15ADCE-8E0B-48A0-98D4-A9E5D236B79A}" dt="2022-01-27T09:57:08.770" v="875"/>
          <ac:spMkLst>
            <pc:docMk/>
            <pc:sldMk cId="3724619332" sldId="371"/>
            <ac:spMk id="2" creationId="{292ADDDD-A891-4A96-BBFF-6051DCDD7578}"/>
          </ac:spMkLst>
        </pc:spChg>
        <pc:spChg chg="mod">
          <ac:chgData name="Neha, Neha" userId="b9e4bbd6-fdeb-44af-ab97-a2c53721413c" providerId="ADAL" clId="{3E15ADCE-8E0B-48A0-98D4-A9E5D236B79A}" dt="2022-01-27T09:57:19.081" v="876"/>
          <ac:spMkLst>
            <pc:docMk/>
            <pc:sldMk cId="3724619332" sldId="371"/>
            <ac:spMk id="5" creationId="{8DA961D8-7055-42C2-9A86-387EB0F66CD3}"/>
          </ac:spMkLst>
        </pc:spChg>
        <pc:spChg chg="mod">
          <ac:chgData name="Neha, Neha" userId="b9e4bbd6-fdeb-44af-ab97-a2c53721413c" providerId="ADAL" clId="{3E15ADCE-8E0B-48A0-98D4-A9E5D236B79A}" dt="2022-01-27T10:01:39.433" v="962" actId="113"/>
          <ac:spMkLst>
            <pc:docMk/>
            <pc:sldMk cId="3724619332" sldId="371"/>
            <ac:spMk id="6" creationId="{DADE0BBD-FBB8-48EA-A1ED-CF320C1A8B3E}"/>
          </ac:spMkLst>
        </pc:spChg>
      </pc:sldChg>
      <pc:sldChg chg="addSp modSp new mod">
        <pc:chgData name="Neha, Neha" userId="b9e4bbd6-fdeb-44af-ab97-a2c53721413c" providerId="ADAL" clId="{3E15ADCE-8E0B-48A0-98D4-A9E5D236B79A}" dt="2022-01-30T06:52:20.150" v="1070" actId="14100"/>
        <pc:sldMkLst>
          <pc:docMk/>
          <pc:sldMk cId="2611579609" sldId="372"/>
        </pc:sldMkLst>
        <pc:spChg chg="mod">
          <ac:chgData name="Neha, Neha" userId="b9e4bbd6-fdeb-44af-ab97-a2c53721413c" providerId="ADAL" clId="{3E15ADCE-8E0B-48A0-98D4-A9E5D236B79A}" dt="2022-01-27T10:26:09.167" v="1064"/>
          <ac:spMkLst>
            <pc:docMk/>
            <pc:sldMk cId="2611579609" sldId="372"/>
            <ac:spMk id="2" creationId="{FE57FF23-3A5C-419C-A75D-70285F9D10D2}"/>
          </ac:spMkLst>
        </pc:spChg>
        <pc:spChg chg="mod">
          <ac:chgData name="Neha, Neha" userId="b9e4bbd6-fdeb-44af-ab97-a2c53721413c" providerId="ADAL" clId="{3E15ADCE-8E0B-48A0-98D4-A9E5D236B79A}" dt="2022-01-30T06:52:04.566" v="1065" actId="20577"/>
          <ac:spMkLst>
            <pc:docMk/>
            <pc:sldMk cId="2611579609" sldId="372"/>
            <ac:spMk id="6" creationId="{26AFBC50-FE0B-4A3A-999D-42D3B9C0FD7D}"/>
          </ac:spMkLst>
        </pc:spChg>
        <pc:picChg chg="add mod">
          <ac:chgData name="Neha, Neha" userId="b9e4bbd6-fdeb-44af-ab97-a2c53721413c" providerId="ADAL" clId="{3E15ADCE-8E0B-48A0-98D4-A9E5D236B79A}" dt="2022-01-30T06:52:20.150" v="1070" actId="14100"/>
          <ac:picMkLst>
            <pc:docMk/>
            <pc:sldMk cId="2611579609" sldId="372"/>
            <ac:picMk id="8" creationId="{1C9FDA80-6318-4AA2-B7E0-CC1B20E4BFCE}"/>
          </ac:picMkLst>
        </pc:picChg>
      </pc:sldChg>
      <pc:sldChg chg="addSp modSp new mod">
        <pc:chgData name="Neha, Neha" userId="b9e4bbd6-fdeb-44af-ab97-a2c53721413c" providerId="ADAL" clId="{3E15ADCE-8E0B-48A0-98D4-A9E5D236B79A}" dt="2022-01-30T06:55:07.823" v="1159" actId="14100"/>
        <pc:sldMkLst>
          <pc:docMk/>
          <pc:sldMk cId="646326472" sldId="373"/>
        </pc:sldMkLst>
        <pc:spChg chg="mod">
          <ac:chgData name="Neha, Neha" userId="b9e4bbd6-fdeb-44af-ab97-a2c53721413c" providerId="ADAL" clId="{3E15ADCE-8E0B-48A0-98D4-A9E5D236B79A}" dt="2022-01-30T06:52:38.091" v="1072"/>
          <ac:spMkLst>
            <pc:docMk/>
            <pc:sldMk cId="646326472" sldId="373"/>
            <ac:spMk id="2" creationId="{228F06EE-2FE2-41A6-8D47-898404C645C4}"/>
          </ac:spMkLst>
        </pc:spChg>
        <pc:spChg chg="mod">
          <ac:chgData name="Neha, Neha" userId="b9e4bbd6-fdeb-44af-ab97-a2c53721413c" providerId="ADAL" clId="{3E15ADCE-8E0B-48A0-98D4-A9E5D236B79A}" dt="2022-01-30T06:54:29.210" v="1148" actId="20577"/>
          <ac:spMkLst>
            <pc:docMk/>
            <pc:sldMk cId="646326472" sldId="373"/>
            <ac:spMk id="6" creationId="{25E50E54-6FFA-44C9-B8C6-0C86D7A8BB6D}"/>
          </ac:spMkLst>
        </pc:spChg>
        <pc:picChg chg="add mod">
          <ac:chgData name="Neha, Neha" userId="b9e4bbd6-fdeb-44af-ab97-a2c53721413c" providerId="ADAL" clId="{3E15ADCE-8E0B-48A0-98D4-A9E5D236B79A}" dt="2022-01-30T06:54:35.877" v="1151" actId="1076"/>
          <ac:picMkLst>
            <pc:docMk/>
            <pc:sldMk cId="646326472" sldId="373"/>
            <ac:picMk id="8" creationId="{50FA02ED-F80E-4E44-B06A-49E63AA93454}"/>
          </ac:picMkLst>
        </pc:picChg>
        <pc:picChg chg="add mod">
          <ac:chgData name="Neha, Neha" userId="b9e4bbd6-fdeb-44af-ab97-a2c53721413c" providerId="ADAL" clId="{3E15ADCE-8E0B-48A0-98D4-A9E5D236B79A}" dt="2022-01-30T06:55:07.823" v="1159" actId="14100"/>
          <ac:picMkLst>
            <pc:docMk/>
            <pc:sldMk cId="646326472" sldId="373"/>
            <ac:picMk id="10" creationId="{FDFEFAA7-69FB-42B8-ABA1-5F3B33177955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30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30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30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hipStation</a:t>
            </a:r>
            <a:r>
              <a:rPr lang="en-US" dirty="0"/>
              <a:t>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000" b="1" dirty="0"/>
              <a:t>Participants: </a:t>
            </a:r>
          </a:p>
          <a:p>
            <a:r>
              <a:rPr lang="en-US" sz="2000" dirty="0"/>
              <a:t>Neha </a:t>
            </a:r>
            <a:r>
              <a:rPr lang="en-US" sz="2000" dirty="0" err="1"/>
              <a:t>Neha</a:t>
            </a:r>
            <a:endParaRPr lang="en-US" sz="2000" dirty="0"/>
          </a:p>
          <a:p>
            <a:r>
              <a:rPr lang="en-US" sz="2000" dirty="0"/>
              <a:t>Virat Sagar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hipStati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ipStation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dirty="0" err="1"/>
              <a:t>ShipStation</a:t>
            </a:r>
            <a:r>
              <a:rPr lang="en-US" dirty="0"/>
              <a:t> is a SaaS (Software as a Service) shipping platform that allows you to manage all your small parcel and LTL shipping needs in one place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dirty="0" err="1"/>
              <a:t>ShipStation</a:t>
            </a:r>
            <a:r>
              <a:rPr lang="en-US" dirty="0"/>
              <a:t> notifies the selling channel and the customer of the shipment and provides tools to track shipments and manage returns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dirty="0" err="1"/>
              <a:t>ShipStation</a:t>
            </a:r>
            <a:r>
              <a:rPr lang="en-US" dirty="0"/>
              <a:t> also provides tools to manage shipping workflow, track  processes to eliminate confusion and mistakes, and use powerful automation to minimize most of the manual work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2FEB1-EE72-47B7-AA25-E5AE4970B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hipStation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6F0D77-6208-4921-967D-994F15335E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5CA850-090A-4E79-9371-1822E31AE4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65CE6EB-0A29-4D18-B596-D4582C0FD22B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92849" y="756606"/>
            <a:ext cx="11468100" cy="290513"/>
          </a:xfrm>
        </p:spPr>
        <p:txBody>
          <a:bodyPr/>
          <a:lstStyle/>
          <a:p>
            <a:r>
              <a:rPr lang="en-US" dirty="0"/>
              <a:t>Connector capabilities and how it can benefit users</a:t>
            </a:r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F289B5-D325-4C01-B093-D26564BA57D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WmShipStationProvider</a:t>
            </a:r>
            <a:r>
              <a:rPr lang="en-US" dirty="0"/>
              <a:t> connector developed using </a:t>
            </a:r>
            <a:r>
              <a:rPr lang="en-US" dirty="0" err="1"/>
              <a:t>cloudstreams</a:t>
            </a:r>
            <a:r>
              <a:rPr lang="en-US" dirty="0"/>
              <a:t> helps to perform various operations that benefits the users to manage their orders and shipping details . Using the below resources created, users can place new order, update the existing order , can be notified when a new order is created using webhook.</a:t>
            </a:r>
          </a:p>
          <a:p>
            <a:pPr marL="342900" indent="-342900">
              <a:buAutoNum type="arabicPeriod"/>
            </a:pPr>
            <a:r>
              <a:rPr lang="en-US" b="1"/>
              <a:t>Create Update </a:t>
            </a:r>
            <a:r>
              <a:rPr lang="en-US" b="1" dirty="0"/>
              <a:t>Order </a:t>
            </a:r>
            <a:r>
              <a:rPr lang="en-US" dirty="0"/>
              <a:t>: This method can be used to create a new order or update an existing order. If the </a:t>
            </a:r>
            <a:r>
              <a:rPr lang="en-US" dirty="0" err="1"/>
              <a:t>orderKey</a:t>
            </a:r>
            <a:r>
              <a:rPr lang="en-US" dirty="0"/>
              <a:t> is specified, </a:t>
            </a:r>
            <a:r>
              <a:rPr lang="en-US" dirty="0" err="1"/>
              <a:t>ShipStation</a:t>
            </a:r>
            <a:r>
              <a:rPr lang="en-US" dirty="0"/>
              <a:t> will attempt to locate the order with the specified </a:t>
            </a:r>
            <a:r>
              <a:rPr lang="en-US" dirty="0" err="1"/>
              <a:t>orderKey</a:t>
            </a:r>
            <a:r>
              <a:rPr lang="en-US" dirty="0"/>
              <a:t>. If found, the existing order with that key will be updated. If the </a:t>
            </a:r>
            <a:r>
              <a:rPr lang="en-US" dirty="0" err="1"/>
              <a:t>orderKey</a:t>
            </a:r>
            <a:r>
              <a:rPr lang="en-US" dirty="0"/>
              <a:t> is not found, a new order will be created with that </a:t>
            </a:r>
            <a:r>
              <a:rPr lang="en-US" dirty="0" err="1"/>
              <a:t>orderKey</a:t>
            </a:r>
            <a:r>
              <a:rPr lang="en-US" dirty="0"/>
              <a:t>.</a:t>
            </a:r>
          </a:p>
          <a:p>
            <a:pPr marL="342900" indent="-342900">
              <a:buAutoNum type="arabicPeriod"/>
            </a:pPr>
            <a:r>
              <a:rPr lang="en-US" b="1" dirty="0"/>
              <a:t>Get Order </a:t>
            </a:r>
            <a:r>
              <a:rPr lang="en-US" dirty="0"/>
              <a:t>: Retrieve a single order from the database.</a:t>
            </a:r>
          </a:p>
          <a:p>
            <a:pPr marL="342900" indent="-342900">
              <a:buAutoNum type="arabicPeriod"/>
            </a:pPr>
            <a:r>
              <a:rPr lang="en-US" b="1" dirty="0"/>
              <a:t>Get Warehouse </a:t>
            </a:r>
            <a:r>
              <a:rPr lang="en-US" dirty="0"/>
              <a:t>: Returns a list of active Ship From Locations (formerly known as warehouses) on the </a:t>
            </a:r>
            <a:r>
              <a:rPr lang="en-US" dirty="0" err="1"/>
              <a:t>ShipStation</a:t>
            </a:r>
            <a:r>
              <a:rPr lang="en-US" dirty="0"/>
              <a:t> account.</a:t>
            </a:r>
          </a:p>
          <a:p>
            <a:pPr marL="342900" indent="-342900">
              <a:buAutoNum type="arabicPeriod"/>
            </a:pPr>
            <a:r>
              <a:rPr lang="en-US" b="1" dirty="0"/>
              <a:t>Update Warehouse </a:t>
            </a:r>
            <a:r>
              <a:rPr lang="en-US" dirty="0"/>
              <a:t>: Updates an existing Ship From Location (formerly known as warehouse).</a:t>
            </a:r>
          </a:p>
          <a:p>
            <a:pPr marL="342900" indent="-342900">
              <a:buAutoNum type="arabicPeriod"/>
            </a:pPr>
            <a:r>
              <a:rPr lang="en-US" b="1" dirty="0"/>
              <a:t>Create Label for Order </a:t>
            </a:r>
            <a:r>
              <a:rPr lang="en-US" dirty="0"/>
              <a:t>: Creates a shipping label for a given order. The </a:t>
            </a:r>
            <a:r>
              <a:rPr lang="en-US" dirty="0" err="1"/>
              <a:t>labelData</a:t>
            </a:r>
            <a:r>
              <a:rPr lang="en-US" dirty="0"/>
              <a:t> field returned in the response is a base64 encoded PDF value. Simply decode and save the output as a PDF file to retrieve a printable label.</a:t>
            </a:r>
          </a:p>
          <a:p>
            <a:pPr marL="342900" indent="-342900">
              <a:buAutoNum type="arabicPeriod"/>
            </a:pPr>
            <a:endParaRPr lang="en-US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49172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ADDDD-A891-4A96-BBFF-6051DCDD7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hipStation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8C3434-3B52-4EC8-B82B-A045FE1EF5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99DDC-FA26-41F0-9C12-C7CB079660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DA961D8-7055-42C2-9A86-387EB0F66CD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Connector capabilities and how it can benefit users</a:t>
            </a:r>
            <a:endParaRPr lang="en-IN" dirty="0"/>
          </a:p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DE0BBD-FBB8-48EA-A1ED-CF320C1A8B3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b="1" dirty="0"/>
              <a:t>6. Create Warehouse </a:t>
            </a:r>
            <a:r>
              <a:rPr lang="en-US" dirty="0"/>
              <a:t>: Adds a Ship From Location (formerly known as warehouse) to your account.</a:t>
            </a:r>
          </a:p>
          <a:p>
            <a:r>
              <a:rPr lang="en-US" b="1" dirty="0"/>
              <a:t>7. Hold Order Until </a:t>
            </a:r>
            <a:r>
              <a:rPr lang="en-US" dirty="0"/>
              <a:t>: This method will change the status of the given order to On Hold until the date specified, when the status will automatically change to Awaiting Shipment.</a:t>
            </a:r>
          </a:p>
          <a:p>
            <a:r>
              <a:rPr lang="en-US" b="1" dirty="0"/>
              <a:t>8. Mark an Order as Shipped </a:t>
            </a:r>
            <a:r>
              <a:rPr lang="en-US" dirty="0"/>
              <a:t>: Marks an order as shipped without creating a label in </a:t>
            </a:r>
            <a:r>
              <a:rPr lang="en-US" dirty="0" err="1"/>
              <a:t>ShipStation</a:t>
            </a:r>
            <a:r>
              <a:rPr lang="en-US" dirty="0"/>
              <a:t>. </a:t>
            </a:r>
          </a:p>
          <a:p>
            <a:r>
              <a:rPr lang="en-US" b="1" dirty="0"/>
              <a:t>9. Delete Order </a:t>
            </a:r>
            <a:r>
              <a:rPr lang="en-US" dirty="0"/>
              <a:t>: Removes order from </a:t>
            </a:r>
            <a:r>
              <a:rPr lang="en-US" dirty="0" err="1"/>
              <a:t>ShipStation's</a:t>
            </a:r>
            <a:r>
              <a:rPr lang="en-US" dirty="0"/>
              <a:t> UI. Note this is a "soft" delete action so the order will still exist in the database, but will be set to inactive.</a:t>
            </a:r>
          </a:p>
          <a:p>
            <a:r>
              <a:rPr lang="en-US" b="1" dirty="0"/>
              <a:t>10. Delete Warehouse </a:t>
            </a:r>
            <a:r>
              <a:rPr lang="en-US" dirty="0"/>
              <a:t>: Removes a warehouse from </a:t>
            </a:r>
            <a:r>
              <a:rPr lang="en-US" dirty="0" err="1"/>
              <a:t>ShipStation's</a:t>
            </a:r>
            <a:r>
              <a:rPr lang="en-US" dirty="0"/>
              <a:t> UI.</a:t>
            </a:r>
          </a:p>
          <a:p>
            <a:r>
              <a:rPr lang="en-US" b="1" dirty="0"/>
              <a:t>11. Subscribe Webhook </a:t>
            </a:r>
            <a:r>
              <a:rPr lang="en-US" dirty="0"/>
              <a:t>: Subscribes to a specific type of webhook.</a:t>
            </a:r>
          </a:p>
          <a:p>
            <a:r>
              <a:rPr lang="en-US" b="1" dirty="0"/>
              <a:t>12. </a:t>
            </a:r>
            <a:r>
              <a:rPr lang="en-US" b="1" dirty="0" err="1"/>
              <a:t>UnSubscribe</a:t>
            </a:r>
            <a:r>
              <a:rPr lang="en-US" b="1" dirty="0"/>
              <a:t> Webhook </a:t>
            </a:r>
            <a:r>
              <a:rPr lang="en-US" dirty="0"/>
              <a:t>: Unsubscribes from a certain webhook.</a:t>
            </a:r>
          </a:p>
          <a:p>
            <a:r>
              <a:rPr lang="en-US" b="1" dirty="0"/>
              <a:t>13. List Webhooks </a:t>
            </a:r>
            <a:r>
              <a:rPr lang="en-US" dirty="0"/>
              <a:t>: Retrieves a list of registered webhooks for the accoun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24619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Workflow to show webhook capability</a:t>
            </a:r>
          </a:p>
          <a:p>
            <a:pPr marL="342900" indent="-342900">
              <a:buAutoNum type="arabicPeriod"/>
            </a:pP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04F5C6-9544-4103-BA0D-C58F9B336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325" y="1718510"/>
            <a:ext cx="7728915" cy="412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7FF23-3A5C-419C-A75D-70285F9D1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DCBDC-7A7C-4DA8-910F-DA517BD2F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9138E-6E3D-430D-B968-EF808E7F0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3461D75-07C3-4AF8-BA32-D64DC253478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AFBC50-FE0B-4A3A-999D-42D3B9C0FD7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2. Workflow for </a:t>
            </a:r>
            <a:r>
              <a:rPr lang="en-US" dirty="0" err="1"/>
              <a:t>getOrder</a:t>
            </a:r>
            <a:r>
              <a:rPr lang="en-US" dirty="0"/>
              <a:t> action</a:t>
            </a:r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9FDA80-6318-4AA2-B7E0-CC1B20E4BF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2112682"/>
            <a:ext cx="7416824" cy="300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79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F06EE-2FE2-41A6-8D47-898404C64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for workflo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65E989-F2E8-4244-A2D3-4DF371B54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0613BD-A0E4-48E3-8280-D249A4BC1E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1E2BE45-2A5C-4A3B-9825-548133F6FBE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E50E54-6FFA-44C9-B8C6-0C86D7A8BB6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ShipStation</a:t>
            </a:r>
            <a:r>
              <a:rPr lang="en-US" dirty="0"/>
              <a:t> account configuration in webMethods.io </a:t>
            </a:r>
          </a:p>
          <a:p>
            <a:endParaRPr lang="en-US" dirty="0"/>
          </a:p>
          <a:p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FA02ED-F80E-4E44-B06A-49E63AA93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1988840"/>
            <a:ext cx="2864252" cy="39227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FEFAA7-69FB-42B8-ABA1-5F3B331779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5924" y="2016831"/>
            <a:ext cx="2864252" cy="392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26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7</TotalTime>
  <Words>679</Words>
  <Application>Microsoft Office PowerPoint</Application>
  <PresentationFormat>Widescreen</PresentationFormat>
  <Paragraphs>52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Wingdings</vt:lpstr>
      <vt:lpstr>Symbol</vt:lpstr>
      <vt:lpstr>Rubik</vt:lpstr>
      <vt:lpstr>Trebuchet MS</vt:lpstr>
      <vt:lpstr>Software AG 2021</vt:lpstr>
      <vt:lpstr>ShipStation Provider</vt:lpstr>
      <vt:lpstr>ShipStation</vt:lpstr>
      <vt:lpstr>ShipStation</vt:lpstr>
      <vt:lpstr>ShipStation</vt:lpstr>
      <vt:lpstr>Screenshots for workflow</vt:lpstr>
      <vt:lpstr>Screenshots for workflow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Neha, Neha</cp:lastModifiedBy>
  <cp:revision>1</cp:revision>
  <dcterms:created xsi:type="dcterms:W3CDTF">2022-01-10T12:32:13Z</dcterms:created>
  <dcterms:modified xsi:type="dcterms:W3CDTF">2022-01-30T07:03:19Z</dcterms:modified>
</cp:coreProperties>
</file>